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tags/tag20.xml" ContentType="application/vnd.openxmlformats-officedocument.presentationml.tags+xml"/>
  <Override PartName="/ppt/notesSlides/notesSlide12.xml" ContentType="application/vnd.openxmlformats-officedocument.presentationml.notesSlide+xml"/>
  <Override PartName="/ppt/tags/tag21.xml" ContentType="application/vnd.openxmlformats-officedocument.presentationml.tags+xml"/>
  <Override PartName="/ppt/notesSlides/notesSlide13.xml" ContentType="application/vnd.openxmlformats-officedocument.presentationml.notesSlide+xml"/>
  <Override PartName="/ppt/tags/tag22.xml" ContentType="application/vnd.openxmlformats-officedocument.presentationml.tags+xml"/>
  <Override PartName="/ppt/notesSlides/notesSlide14.xml" ContentType="application/vnd.openxmlformats-officedocument.presentationml.notesSlide+xml"/>
  <Override PartName="/ppt/tags/tag23.xml" ContentType="application/vnd.openxmlformats-officedocument.presentationml.tags+xml"/>
  <Override PartName="/ppt/notesSlides/notesSlide15.xml" ContentType="application/vnd.openxmlformats-officedocument.presentationml.notesSlide+xml"/>
  <Override PartName="/ppt/tags/tag24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9" r:id="rId2"/>
  </p:sldMasterIdLst>
  <p:notesMasterIdLst>
    <p:notesMasterId r:id="rId23"/>
  </p:notesMasterIdLst>
  <p:sldIdLst>
    <p:sldId id="3343" r:id="rId3"/>
    <p:sldId id="3346" r:id="rId4"/>
    <p:sldId id="3349" r:id="rId5"/>
    <p:sldId id="3350" r:id="rId6"/>
    <p:sldId id="3351" r:id="rId7"/>
    <p:sldId id="3352" r:id="rId8"/>
    <p:sldId id="3353" r:id="rId9"/>
    <p:sldId id="3348" r:id="rId10"/>
    <p:sldId id="3344" r:id="rId11"/>
    <p:sldId id="3347" r:id="rId12"/>
    <p:sldId id="2147308969" r:id="rId13"/>
    <p:sldId id="2147308968" r:id="rId14"/>
    <p:sldId id="2147308971" r:id="rId15"/>
    <p:sldId id="2147308975" r:id="rId16"/>
    <p:sldId id="2147308976" r:id="rId17"/>
    <p:sldId id="2147308977" r:id="rId18"/>
    <p:sldId id="2147308974" r:id="rId19"/>
    <p:sldId id="2147308973" r:id="rId20"/>
    <p:sldId id="2147308972" r:id="rId21"/>
    <p:sldId id="2147308970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432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25"/>
    <p:restoredTop sz="94760"/>
  </p:normalViewPr>
  <p:slideViewPr>
    <p:cSldViewPr snapToGrid="0">
      <p:cViewPr varScale="1">
        <p:scale>
          <a:sx n="127" d="100"/>
          <a:sy n="127" d="100"/>
        </p:scale>
        <p:origin x="216" y="3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79B039-4B8E-4EF0-876B-DDFFA53D6CD6}" type="datetimeFigureOut">
              <a:rPr lang="en-US" smtClean="0"/>
              <a:t>10/4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FF33DF-647A-466E-8794-CA5103F24B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004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32408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8473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2190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83404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3526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04864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7925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5754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10427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7591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94194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60432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54582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32627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843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63040" y="4717354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3040" y="3958717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770137"/>
            <a:ext cx="10130936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2768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martArt Placeholder 8"/>
          <p:cNvSpPr>
            <a:spLocks noGrp="1" noChangeAspect="1"/>
          </p:cNvSpPr>
          <p:nvPr>
            <p:ph type="dgm" sz="quarter" idx="12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4258178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martArt Placeholder 3"/>
          <p:cNvSpPr>
            <a:spLocks noGrp="1" noChangeAspect="1"/>
          </p:cNvSpPr>
          <p:nvPr>
            <p:ph type="dgm" sz="quarter" idx="13"/>
          </p:nvPr>
        </p:nvSpPr>
        <p:spPr>
          <a:xfrm>
            <a:off x="605373" y="1463040"/>
            <a:ext cx="10977033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SmartArt graphic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91606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4"/>
          <p:cNvSpPr>
            <a:spLocks noGrp="1" noChangeAspect="1"/>
          </p:cNvSpPr>
          <p:nvPr>
            <p:ph type="chart" sz="quarter" idx="14"/>
          </p:nvPr>
        </p:nvSpPr>
        <p:spPr>
          <a:xfrm>
            <a:off x="605367" y="1463040"/>
            <a:ext cx="10972800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5665578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60960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6"/>
          <p:cNvSpPr>
            <a:spLocks noGrp="1" noChangeAspect="1"/>
          </p:cNvSpPr>
          <p:nvPr>
            <p:ph type="chart" sz="quarter" idx="11"/>
          </p:nvPr>
        </p:nvSpPr>
        <p:spPr>
          <a:xfrm>
            <a:off x="6096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040078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70713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6820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DCDDB0-F1A2-4E19-9777-2B52D7F56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9" imgH="627" progId="TCLayout.ActiveDocument.1">
                  <p:embed/>
                </p:oleObj>
              </mc:Choice>
              <mc:Fallback>
                <p:oleObj name="think-cell Slide" r:id="rId3" imgW="629" imgH="6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DCDDB0-F1A2-4E19-9777-2B52D7F56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126DD-6D21-4DEB-A03A-1FAC2BEBD4BE}" type="datetimeFigureOut">
              <a:rPr lang="en-US" smtClean="0"/>
              <a:t>10/4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683F7-1838-44C1-A3C7-3B4474FEF1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443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099887"/>
            <a:ext cx="10363200" cy="893215"/>
          </a:xfrm>
        </p:spPr>
        <p:txBody>
          <a:bodyPr anchor="b">
            <a:normAutofit/>
          </a:bodyPr>
          <a:lstStyle>
            <a:lvl1pPr algn="l">
              <a:defRPr sz="3600" b="1" cap="none" baseline="0">
                <a:solidFill>
                  <a:srgbClr val="2573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77601"/>
            <a:ext cx="10363200" cy="464735"/>
          </a:xfrm>
        </p:spPr>
        <p:txBody>
          <a:bodyPr anchor="b">
            <a:normAutofit/>
          </a:bodyPr>
          <a:lstStyle>
            <a:lvl1pPr marL="0" indent="0">
              <a:buNone/>
              <a:defRPr sz="1800">
                <a:solidFill>
                  <a:srgbClr val="57819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7735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63040" y="4717354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3040" y="3958717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770137"/>
            <a:ext cx="10130936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7041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10972800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Bullet level 1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3574054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10972800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Bullet level 1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5766288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able Placeholder 7"/>
          <p:cNvSpPr>
            <a:spLocks noGrp="1"/>
          </p:cNvSpPr>
          <p:nvPr>
            <p:ph type="tbl" sz="quarter" idx="15"/>
          </p:nvPr>
        </p:nvSpPr>
        <p:spPr>
          <a:xfrm>
            <a:off x="609600" y="1463040"/>
            <a:ext cx="10972800" cy="48768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/>
              <a:t>Click icon to add 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5479"/>
            <a:ext cx="10972800" cy="1143000"/>
          </a:xfrm>
        </p:spPr>
        <p:txBody>
          <a:bodyPr anchor="t"/>
          <a:lstStyle/>
          <a:p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891966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609600" y="3449589"/>
            <a:ext cx="10972800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00243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8220613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4885097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193538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2209575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3 Headers +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9248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9443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26" hasCustomPrompt="1"/>
          </p:nvPr>
        </p:nvSpPr>
        <p:spPr>
          <a:xfrm>
            <a:off x="4267200" y="2029206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 baseline="0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7" hasCustomPrompt="1"/>
          </p:nvPr>
        </p:nvSpPr>
        <p:spPr>
          <a:xfrm>
            <a:off x="792988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7441022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Header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6"/>
          <p:cNvSpPr>
            <a:spLocks noGrp="1" noChangeAspect="1"/>
          </p:cNvSpPr>
          <p:nvPr>
            <p:ph type="dgm" sz="quarter" idx="14"/>
          </p:nvPr>
        </p:nvSpPr>
        <p:spPr>
          <a:xfrm>
            <a:off x="5608320" y="2036064"/>
            <a:ext cx="597408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3060" y="1389888"/>
            <a:ext cx="48768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2" y="2036064"/>
            <a:ext cx="4880260" cy="41148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40569538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 noChangeAspect="1"/>
          </p:cNvSpPr>
          <p:nvPr>
            <p:ph type="chart" sz="quarter" idx="10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9436239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martArt Placeholder 8"/>
          <p:cNvSpPr>
            <a:spLocks noGrp="1" noChangeAspect="1"/>
          </p:cNvSpPr>
          <p:nvPr>
            <p:ph type="dgm" sz="quarter" idx="12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8830916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martArt Placeholder 3"/>
          <p:cNvSpPr>
            <a:spLocks noGrp="1" noChangeAspect="1"/>
          </p:cNvSpPr>
          <p:nvPr>
            <p:ph type="dgm" sz="quarter" idx="13"/>
          </p:nvPr>
        </p:nvSpPr>
        <p:spPr>
          <a:xfrm>
            <a:off x="605373" y="1463040"/>
            <a:ext cx="10977033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SmartArt graphic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4653349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4"/>
          <p:cNvSpPr>
            <a:spLocks noGrp="1" noChangeAspect="1"/>
          </p:cNvSpPr>
          <p:nvPr>
            <p:ph type="chart" sz="quarter" idx="14"/>
          </p:nvPr>
        </p:nvSpPr>
        <p:spPr>
          <a:xfrm>
            <a:off x="605367" y="1463040"/>
            <a:ext cx="10972800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10099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able Placeholder 7"/>
          <p:cNvSpPr>
            <a:spLocks noGrp="1"/>
          </p:cNvSpPr>
          <p:nvPr>
            <p:ph type="tbl" sz="quarter" idx="15"/>
          </p:nvPr>
        </p:nvSpPr>
        <p:spPr>
          <a:xfrm>
            <a:off x="609600" y="1463040"/>
            <a:ext cx="10972800" cy="48768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/>
              <a:t>Click icon to add 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5479"/>
            <a:ext cx="10972800" cy="1143000"/>
          </a:xfrm>
        </p:spPr>
        <p:txBody>
          <a:bodyPr anchor="t"/>
          <a:lstStyle/>
          <a:p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733304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60960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6"/>
          <p:cNvSpPr>
            <a:spLocks noGrp="1" noChangeAspect="1"/>
          </p:cNvSpPr>
          <p:nvPr>
            <p:ph type="chart" sz="quarter" idx="11"/>
          </p:nvPr>
        </p:nvSpPr>
        <p:spPr>
          <a:xfrm>
            <a:off x="6096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905155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20946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5974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DCDDB0-F1A2-4E19-9777-2B52D7F56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9" imgH="627" progId="TCLayout.ActiveDocument.1">
                  <p:embed/>
                </p:oleObj>
              </mc:Choice>
              <mc:Fallback>
                <p:oleObj name="think-cell Slide" r:id="rId3" imgW="629" imgH="6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DCDDB0-F1A2-4E19-9777-2B52D7F56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126DD-6D21-4DEB-A03A-1FAC2BEBD4BE}" type="datetimeFigureOut">
              <a:rPr lang="en-US" smtClean="0"/>
              <a:t>10/4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683F7-1838-44C1-A3C7-3B4474FEF1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8870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099887"/>
            <a:ext cx="10363200" cy="893215"/>
          </a:xfrm>
        </p:spPr>
        <p:txBody>
          <a:bodyPr anchor="b">
            <a:normAutofit/>
          </a:bodyPr>
          <a:lstStyle>
            <a:lvl1pPr algn="l">
              <a:defRPr sz="3600" b="1" cap="none" baseline="0">
                <a:solidFill>
                  <a:srgbClr val="2573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77601"/>
            <a:ext cx="10363200" cy="464735"/>
          </a:xfrm>
        </p:spPr>
        <p:txBody>
          <a:bodyPr anchor="b">
            <a:normAutofit/>
          </a:bodyPr>
          <a:lstStyle>
            <a:lvl1pPr marL="0" indent="0">
              <a:buNone/>
              <a:defRPr sz="1800">
                <a:solidFill>
                  <a:srgbClr val="57819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3067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10982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609600" y="3449589"/>
            <a:ext cx="10972800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00243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084620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3238132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193538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253217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3 Headers +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9248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9443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26" hasCustomPrompt="1"/>
          </p:nvPr>
        </p:nvSpPr>
        <p:spPr>
          <a:xfrm>
            <a:off x="4267200" y="2029206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 baseline="0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7" hasCustomPrompt="1"/>
          </p:nvPr>
        </p:nvSpPr>
        <p:spPr>
          <a:xfrm>
            <a:off x="792988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20271160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Header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6"/>
          <p:cNvSpPr>
            <a:spLocks noGrp="1" noChangeAspect="1"/>
          </p:cNvSpPr>
          <p:nvPr>
            <p:ph type="dgm" sz="quarter" idx="14"/>
          </p:nvPr>
        </p:nvSpPr>
        <p:spPr>
          <a:xfrm>
            <a:off x="5608320" y="2036064"/>
            <a:ext cx="597408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3060" y="1389888"/>
            <a:ext cx="48768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2" y="2036064"/>
            <a:ext cx="4880260" cy="41148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42823467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 noChangeAspect="1"/>
          </p:cNvSpPr>
          <p:nvPr>
            <p:ph type="chart" sz="quarter" idx="10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033200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7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CA6926-E43B-48C0-9F51-BF5C430B4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5439623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629" imgH="627" progId="TCLayout.ActiveDocument.1">
                  <p:embed/>
                </p:oleObj>
              </mc:Choice>
              <mc:Fallback>
                <p:oleObj name="think-cell Slide" r:id="rId21" imgW="629" imgH="6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CA6926-E43B-48C0-9F51-BF5C430B4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BB4B3B-BEA6-4CF4-A9F3-3E387CAC34F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pic>
        <p:nvPicPr>
          <p:cNvPr id="7" name="Picture 6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sp>
        <p:nvSpPr>
          <p:cNvPr id="8" name="Slide Number Placeholder 11"/>
          <p:cNvSpPr txBox="1">
            <a:spLocks/>
          </p:cNvSpPr>
          <p:nvPr/>
        </p:nvSpPr>
        <p:spPr>
          <a:xfrm>
            <a:off x="11725963" y="6492724"/>
            <a:ext cx="466037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 baseline="3000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79808A-BD48-6247-B53F-F089CE7B6EAB}" type="slidenum">
              <a:rPr lang="en-US" sz="1333" noProof="0" smtClean="0">
                <a:solidFill>
                  <a:srgbClr val="7C878E"/>
                </a:solidFill>
              </a:rPr>
              <a:pPr/>
              <a:t>‹#›</a:t>
            </a:fld>
            <a:endParaRPr lang="en-US" sz="1333" noProof="0">
              <a:solidFill>
                <a:srgbClr val="7C878E"/>
              </a:solidFill>
            </a:endParaRPr>
          </a:p>
        </p:txBody>
      </p:sp>
      <p:sp>
        <p:nvSpPr>
          <p:cNvPr id="12" name="Footer Placeholder 10"/>
          <p:cNvSpPr txBox="1">
            <a:spLocks/>
          </p:cNvSpPr>
          <p:nvPr/>
        </p:nvSpPr>
        <p:spPr>
          <a:xfrm>
            <a:off x="7865163" y="6494576"/>
            <a:ext cx="3860800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en-US" sz="1000" b="0" i="0" u="none" strike="noStrike" kern="1200" baseline="30000" smtClean="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noProof="0">
                <a:solidFill>
                  <a:srgbClr val="7C878E"/>
                </a:solidFill>
              </a:rPr>
              <a:t>Biogen | Confidential and Proprietary</a:t>
            </a:r>
          </a:p>
        </p:txBody>
      </p:sp>
      <p:pic>
        <p:nvPicPr>
          <p:cNvPr id="9" name="Picture 8" descr="logo-02.pn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227" y="6423968"/>
            <a:ext cx="1013720" cy="33655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4077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idx="1"/>
          </p:nvPr>
        </p:nvSpPr>
        <p:spPr>
          <a:xfrm>
            <a:off x="609600" y="1463040"/>
            <a:ext cx="109728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Bullet level 1</a:t>
            </a:r>
          </a:p>
          <a:p>
            <a:pPr lvl="2"/>
            <a:r>
              <a:rPr lang="en-US"/>
              <a:t>Bullet level 2</a:t>
            </a:r>
          </a:p>
          <a:p>
            <a:pPr lvl="3"/>
            <a:r>
              <a:rPr lang="en-US"/>
              <a:t>Bullet level 3</a:t>
            </a:r>
          </a:p>
          <a:p>
            <a:pPr lvl="4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409069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xStyles>
    <p:titleStyle>
      <a:lvl1pPr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None/>
        <a:defRPr sz="4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4267" kern="1200">
          <a:solidFill>
            <a:srgbClr val="7C878E"/>
          </a:solidFill>
          <a:latin typeface="+mn-lt"/>
          <a:ea typeface="+mn-ea"/>
          <a:cs typeface="+mn-cs"/>
        </a:defRPr>
      </a:lvl1pPr>
      <a:lvl2pPr marL="609585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4267" kern="1200" baseline="0">
          <a:solidFill>
            <a:srgbClr val="7C878E"/>
          </a:solidFill>
          <a:latin typeface="+mn-lt"/>
          <a:ea typeface="+mn-ea"/>
          <a:cs typeface="+mn-cs"/>
        </a:defRPr>
      </a:lvl2pPr>
      <a:lvl3pPr marL="1219170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Courier New" panose="02070309020205020404" pitchFamily="49" charset="0"/>
        <a:buChar char="o"/>
        <a:defRPr sz="3733" kern="1200">
          <a:solidFill>
            <a:srgbClr val="7C878E"/>
          </a:solidFill>
          <a:latin typeface="+mn-lt"/>
          <a:ea typeface="+mn-ea"/>
          <a:cs typeface="+mn-cs"/>
        </a:defRPr>
      </a:lvl3pPr>
      <a:lvl4pPr marL="1828754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3200" kern="1200">
          <a:solidFill>
            <a:srgbClr val="7C878E"/>
          </a:solidFill>
          <a:latin typeface="+mn-lt"/>
          <a:ea typeface="+mn-ea"/>
          <a:cs typeface="+mn-cs"/>
        </a:defRPr>
      </a:lvl4pPr>
      <a:lvl5pPr marL="2438339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-"/>
        <a:defRPr sz="3200" kern="1200">
          <a:solidFill>
            <a:srgbClr val="7C878E"/>
          </a:solidFill>
          <a:latin typeface="+mn-lt"/>
          <a:ea typeface="+mn-ea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2880">
          <p15:clr>
            <a:srgbClr val="F26B43"/>
          </p15:clr>
        </p15:guide>
        <p15:guide id="3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CA6926-E43B-48C0-9F51-BF5C430B4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677828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629" imgH="627" progId="TCLayout.ActiveDocument.1">
                  <p:embed/>
                </p:oleObj>
              </mc:Choice>
              <mc:Fallback>
                <p:oleObj name="think-cell Slide" r:id="rId22" imgW="629" imgH="6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CA6926-E43B-48C0-9F51-BF5C430B4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BB4B3B-BEA6-4CF4-A9F3-3E387CAC34F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 descr="background-ppt-biogen2-04.jp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pic>
        <p:nvPicPr>
          <p:cNvPr id="7" name="Picture 6" descr="background-ppt-biogen2-04.jp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sp>
        <p:nvSpPr>
          <p:cNvPr id="8" name="Slide Number Placeholder 11"/>
          <p:cNvSpPr txBox="1">
            <a:spLocks/>
          </p:cNvSpPr>
          <p:nvPr/>
        </p:nvSpPr>
        <p:spPr>
          <a:xfrm>
            <a:off x="11725963" y="6492724"/>
            <a:ext cx="466037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 baseline="3000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79808A-BD48-6247-B53F-F089CE7B6EAB}" type="slidenum">
              <a:rPr lang="en-US" sz="1333" noProof="0" smtClean="0">
                <a:solidFill>
                  <a:srgbClr val="7C878E"/>
                </a:solidFill>
              </a:rPr>
              <a:pPr/>
              <a:t>‹#›</a:t>
            </a:fld>
            <a:endParaRPr lang="en-US" sz="1333" noProof="0">
              <a:solidFill>
                <a:srgbClr val="7C878E"/>
              </a:solidFill>
            </a:endParaRPr>
          </a:p>
        </p:txBody>
      </p:sp>
      <p:sp>
        <p:nvSpPr>
          <p:cNvPr id="12" name="Footer Placeholder 10"/>
          <p:cNvSpPr txBox="1">
            <a:spLocks/>
          </p:cNvSpPr>
          <p:nvPr/>
        </p:nvSpPr>
        <p:spPr>
          <a:xfrm>
            <a:off x="7865163" y="6494576"/>
            <a:ext cx="3860800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en-US" sz="1000" b="0" i="0" u="none" strike="noStrike" kern="1200" baseline="30000" smtClean="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noProof="0">
                <a:solidFill>
                  <a:srgbClr val="7C878E"/>
                </a:solidFill>
              </a:rPr>
              <a:t>Biogen | Confidential and Proprietary</a:t>
            </a:r>
          </a:p>
        </p:txBody>
      </p:sp>
      <p:pic>
        <p:nvPicPr>
          <p:cNvPr id="9" name="Picture 8" descr="logo-02.png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227" y="6423968"/>
            <a:ext cx="1013720" cy="33655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4077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idx="1"/>
          </p:nvPr>
        </p:nvSpPr>
        <p:spPr>
          <a:xfrm>
            <a:off x="609600" y="1463040"/>
            <a:ext cx="109728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Bullet level 1</a:t>
            </a:r>
          </a:p>
          <a:p>
            <a:pPr lvl="2"/>
            <a:r>
              <a:rPr lang="en-US"/>
              <a:t>Bullet level 2</a:t>
            </a:r>
          </a:p>
          <a:p>
            <a:pPr lvl="3"/>
            <a:r>
              <a:rPr lang="en-US"/>
              <a:t>Bullet level 3</a:t>
            </a:r>
          </a:p>
          <a:p>
            <a:pPr lvl="4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22855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</p:sldLayoutIdLst>
  <p:txStyles>
    <p:titleStyle>
      <a:lvl1pPr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None/>
        <a:defRPr sz="4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4267" kern="1200">
          <a:solidFill>
            <a:srgbClr val="7C878E"/>
          </a:solidFill>
          <a:latin typeface="+mn-lt"/>
          <a:ea typeface="+mn-ea"/>
          <a:cs typeface="+mn-cs"/>
        </a:defRPr>
      </a:lvl1pPr>
      <a:lvl2pPr marL="609585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4267" kern="1200" baseline="0">
          <a:solidFill>
            <a:srgbClr val="7C878E"/>
          </a:solidFill>
          <a:latin typeface="+mn-lt"/>
          <a:ea typeface="+mn-ea"/>
          <a:cs typeface="+mn-cs"/>
        </a:defRPr>
      </a:lvl2pPr>
      <a:lvl3pPr marL="1219170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Courier New" panose="02070309020205020404" pitchFamily="49" charset="0"/>
        <a:buChar char="o"/>
        <a:defRPr sz="3733" kern="1200">
          <a:solidFill>
            <a:srgbClr val="7C878E"/>
          </a:solidFill>
          <a:latin typeface="+mn-lt"/>
          <a:ea typeface="+mn-ea"/>
          <a:cs typeface="+mn-cs"/>
        </a:defRPr>
      </a:lvl3pPr>
      <a:lvl4pPr marL="1828754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3200" kern="1200">
          <a:solidFill>
            <a:srgbClr val="7C878E"/>
          </a:solidFill>
          <a:latin typeface="+mn-lt"/>
          <a:ea typeface="+mn-ea"/>
          <a:cs typeface="+mn-cs"/>
        </a:defRPr>
      </a:lvl4pPr>
      <a:lvl5pPr marL="2438339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-"/>
        <a:defRPr sz="3200" kern="1200">
          <a:solidFill>
            <a:srgbClr val="7C878E"/>
          </a:solidFill>
          <a:latin typeface="+mn-lt"/>
          <a:ea typeface="+mn-ea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2880">
          <p15:clr>
            <a:srgbClr val="F26B43"/>
          </p15:clr>
        </p15:guide>
        <p15:guide id="3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8.xml"/><Relationship Id="rId6" Type="http://schemas.openxmlformats.org/officeDocument/2006/relationships/image" Target="../media/image3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9.xml"/><Relationship Id="rId6" Type="http://schemas.openxmlformats.org/officeDocument/2006/relationships/image" Target="../media/image3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0.xml"/><Relationship Id="rId6" Type="http://schemas.openxmlformats.org/officeDocument/2006/relationships/image" Target="../media/image3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1.xml"/><Relationship Id="rId6" Type="http://schemas.openxmlformats.org/officeDocument/2006/relationships/image" Target="../media/image3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6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1349404" y="5587457"/>
            <a:ext cx="4465469" cy="6286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60958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12700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Computational Biology -  Zhen Gao and Dann Hu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835205" y="3136612"/>
            <a:ext cx="1052159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-Target Assessment (Risdiplam and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aplam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–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ion using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sl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Seq Results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l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Genes with largest |</a:t>
            </a:r>
            <a:r>
              <a:rPr lang="en-US" dirty="0" err="1">
                <a:solidFill>
                  <a:srgbClr val="FFFFFF"/>
                </a:solidFill>
                <a:latin typeface="Arial Narrow" panose="020B0606020202030204" pitchFamily="34" charset="0"/>
              </a:rPr>
              <a:t>dPSI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|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5AC36F-2A6A-5214-CDCC-D2E67D59F94C}"/>
              </a:ext>
            </a:extLst>
          </p:cNvPr>
          <p:cNvSpPr txBox="1"/>
          <p:nvPr/>
        </p:nvSpPr>
        <p:spPr>
          <a:xfrm>
            <a:off x="2391103" y="241159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573B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9F45A82-97A7-527E-957D-B5F6A69A71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0501080"/>
              </p:ext>
            </p:extLst>
          </p:nvPr>
        </p:nvGraphicFramePr>
        <p:xfrm>
          <a:off x="2986680" y="671844"/>
          <a:ext cx="4333931" cy="6125236"/>
        </p:xfrm>
        <a:graphic>
          <a:graphicData uri="http://schemas.openxmlformats.org/drawingml/2006/table">
            <a:tbl>
              <a:tblPr/>
              <a:tblGrid>
                <a:gridCol w="866786">
                  <a:extLst>
                    <a:ext uri="{9D8B030D-6E8A-4147-A177-3AD203B41FA5}">
                      <a16:colId xmlns:a16="http://schemas.microsoft.com/office/drawing/2014/main" val="1384743530"/>
                    </a:ext>
                  </a:extLst>
                </a:gridCol>
                <a:gridCol w="866786">
                  <a:extLst>
                    <a:ext uri="{9D8B030D-6E8A-4147-A177-3AD203B41FA5}">
                      <a16:colId xmlns:a16="http://schemas.microsoft.com/office/drawing/2014/main" val="328025054"/>
                    </a:ext>
                  </a:extLst>
                </a:gridCol>
                <a:gridCol w="851216">
                  <a:extLst>
                    <a:ext uri="{9D8B030D-6E8A-4147-A177-3AD203B41FA5}">
                      <a16:colId xmlns:a16="http://schemas.microsoft.com/office/drawing/2014/main" val="2665520719"/>
                    </a:ext>
                  </a:extLst>
                </a:gridCol>
                <a:gridCol w="882357">
                  <a:extLst>
                    <a:ext uri="{9D8B030D-6E8A-4147-A177-3AD203B41FA5}">
                      <a16:colId xmlns:a16="http://schemas.microsoft.com/office/drawing/2014/main" val="1919858734"/>
                    </a:ext>
                  </a:extLst>
                </a:gridCol>
                <a:gridCol w="866786">
                  <a:extLst>
                    <a:ext uri="{9D8B030D-6E8A-4147-A177-3AD203B41FA5}">
                      <a16:colId xmlns:a16="http://schemas.microsoft.com/office/drawing/2014/main" val="3327143976"/>
                    </a:ext>
                  </a:extLst>
                </a:gridCol>
              </a:tblGrid>
              <a:tr h="1232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ow.names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666" marR="2666" marT="2666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RG7916_10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RG7916_03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LMI070_10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LMI070_03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096960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XDC2P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310707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267473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4573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8081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578421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P11-419C5.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314708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236708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44141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76532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173689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MT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06199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5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314360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N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0196735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P7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6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5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17365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F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935433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AP2L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861452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638163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713686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363353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328906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PGEF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5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4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95016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1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9439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AP2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7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6753098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CC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9550040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270952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794434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0062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41871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PS29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66935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PS7B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1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388684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IM65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36302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X4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123971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82000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8482505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2783303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216946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XM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44554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439850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937051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394800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029635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P1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208529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P6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4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910610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TA18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5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581814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CR7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3130776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818735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93796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709736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NND5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934436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LP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4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3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237975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19orf24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83690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619588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469665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049199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162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23119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396032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V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489762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29901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82639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4650938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EK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5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41953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B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546178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56591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429439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067551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674948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E2V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03572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GK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4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060351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NS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5343196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69969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87119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886251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C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731811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994293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744099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1182949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959904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HLN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6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275549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GCT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41650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L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413390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41944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522513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AMTS14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74845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VD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882793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756869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32968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77498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982260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174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458895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682931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675453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672881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36477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BXO3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41299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4933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3332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2584606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22504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RBP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76949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2914938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38178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GF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392497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56805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88419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96146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553261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11orf7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263421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IP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772707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897592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60395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92137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819571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PD4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990566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352178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80352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0818893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772622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142682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PN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2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9505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F326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54697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MD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579389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697647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90827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816619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Z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879461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HD2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756719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198B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497915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368007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092915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04130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9702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he central idea of MAJIQ: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ocal splicing vari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F37F91-6A15-1263-CD9B-A4573C6DD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128046"/>
            <a:ext cx="4087894" cy="540142"/>
          </a:xfrm>
          <a:prstGeom prst="rect">
            <a:avLst/>
          </a:prstGeom>
        </p:spPr>
      </p:pic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C81A5917-934A-3696-F63C-5BBC4C296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668188"/>
            <a:ext cx="4140200" cy="101354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DE1D939-5E67-FF80-21C7-F0AC084A2A9D}"/>
              </a:ext>
            </a:extLst>
          </p:cNvPr>
          <p:cNvSpPr/>
          <p:nvPr/>
        </p:nvSpPr>
        <p:spPr>
          <a:xfrm>
            <a:off x="5372213" y="2460563"/>
            <a:ext cx="3897221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2)       s|1e1.1o1|1e2.1o1|1e3.1o1|</a:t>
            </a:r>
            <a:r>
              <a:rPr lang="en-US" b="1" dirty="0">
                <a:solidFill>
                  <a:srgbClr val="FF0000"/>
                </a:solidFill>
              </a:rPr>
              <a:t>i 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D7CA23B-37A8-0F60-AB37-90A5D23707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99" y="3197304"/>
            <a:ext cx="3915044" cy="1214068"/>
          </a:xfrm>
          <a:prstGeom prst="rect">
            <a:avLst/>
          </a:prstGeom>
        </p:spPr>
      </p:pic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303925A2-AABA-77AB-36E4-184EDB0BAA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99" y="4990032"/>
            <a:ext cx="3769047" cy="889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274C179-9F31-113E-8009-99254570A32D}"/>
              </a:ext>
            </a:extLst>
          </p:cNvPr>
          <p:cNvSpPr/>
          <p:nvPr/>
        </p:nvSpPr>
        <p:spPr>
          <a:xfrm>
            <a:off x="5372213" y="3720246"/>
            <a:ext cx="4666662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13)     s|1e1.1o1|1e2.</a:t>
            </a:r>
            <a:r>
              <a:rPr lang="en-US" dirty="0">
                <a:solidFill>
                  <a:srgbClr val="1A3DFF"/>
                </a:solidFill>
              </a:rPr>
              <a:t>2o2</a:t>
            </a:r>
            <a:r>
              <a:rPr lang="en-US" dirty="0"/>
              <a:t>|1e3.1o1|1e4.</a:t>
            </a:r>
            <a:r>
              <a:rPr lang="en-US" dirty="0">
                <a:solidFill>
                  <a:srgbClr val="1A3DFF"/>
                </a:solidFill>
              </a:rPr>
              <a:t>2o2</a:t>
            </a:r>
            <a:r>
              <a:rPr lang="en-US" dirty="0"/>
              <a:t>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262FEC2-36E9-942A-5509-B4B2FD0584A7}"/>
              </a:ext>
            </a:extLst>
          </p:cNvPr>
          <p:cNvSpPr/>
          <p:nvPr/>
        </p:nvSpPr>
        <p:spPr>
          <a:xfrm>
            <a:off x="5372213" y="5165343"/>
            <a:ext cx="3837910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22)      s|1e1.1o1|1e2.2o2|</a:t>
            </a:r>
            <a:r>
              <a:rPr lang="en-US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2e</a:t>
            </a:r>
            <a:r>
              <a:rPr lang="en-US" dirty="0"/>
              <a:t>2.</a:t>
            </a:r>
            <a:r>
              <a:rPr lang="en-US" dirty="0">
                <a:solidFill>
                  <a:srgbClr val="0432FF"/>
                </a:solidFill>
              </a:rPr>
              <a:t>2o2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485454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he central idea of MAJIQ: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ocal splicing vari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F37F91-6A15-1263-CD9B-A4573C6DD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128046"/>
            <a:ext cx="4087894" cy="540142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CAA90482-DDB8-4B34-B120-4C48D2578B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847" y="1591228"/>
            <a:ext cx="4241800" cy="1257300"/>
          </a:xfrm>
          <a:prstGeom prst="rect">
            <a:avLst/>
          </a:prstGeom>
        </p:spPr>
      </p:pic>
      <p:pic>
        <p:nvPicPr>
          <p:cNvPr id="5" name="Picture 4" descr="A picture containing chart&#10;&#10;Description automatically generated">
            <a:extLst>
              <a:ext uri="{FF2B5EF4-FFF2-40B4-BE49-F238E27FC236}">
                <a16:creationId xmlns:a16="http://schemas.microsoft.com/office/drawing/2014/main" id="{859C49D6-18E7-58C3-ED13-FCB695AF55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4" y="3128848"/>
            <a:ext cx="4203700" cy="12319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64617D-9A4A-96E5-28D5-DFD600DBE07B}"/>
              </a:ext>
            </a:extLst>
          </p:cNvPr>
          <p:cNvSpPr/>
          <p:nvPr/>
        </p:nvSpPr>
        <p:spPr>
          <a:xfrm>
            <a:off x="5543825" y="2391491"/>
            <a:ext cx="3722494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5)        </a:t>
            </a:r>
            <a:r>
              <a:rPr lang="en-US" dirty="0">
                <a:solidFill>
                  <a:srgbClr val="00B050"/>
                </a:solidFill>
              </a:rPr>
              <a:t>t</a:t>
            </a:r>
            <a:r>
              <a:rPr lang="en-US" dirty="0"/>
              <a:t>|</a:t>
            </a:r>
            <a:r>
              <a:rPr lang="en-US" dirty="0">
                <a:solidFill>
                  <a:srgbClr val="1A3DFF"/>
                </a:solidFill>
              </a:rPr>
              <a:t>1e1</a:t>
            </a:r>
            <a:r>
              <a:rPr lang="en-US" dirty="0"/>
              <a:t>.</a:t>
            </a:r>
            <a:r>
              <a:rPr lang="en-US" dirty="0">
                <a:solidFill>
                  <a:srgbClr val="FF0000"/>
                </a:solidFill>
              </a:rPr>
              <a:t>1o2</a:t>
            </a:r>
            <a:r>
              <a:rPr lang="en-US" dirty="0"/>
              <a:t>|</a:t>
            </a:r>
            <a:r>
              <a:rPr lang="en-US" dirty="0">
                <a:solidFill>
                  <a:srgbClr val="1A3DFF"/>
                </a:solidFill>
              </a:rPr>
              <a:t>1e2</a:t>
            </a:r>
            <a:r>
              <a:rPr lang="en-US" dirty="0"/>
              <a:t>.1o1|</a:t>
            </a:r>
            <a:r>
              <a:rPr lang="en-US" dirty="0">
                <a:solidFill>
                  <a:srgbClr val="0432FF"/>
                </a:solidFill>
              </a:rPr>
              <a:t>1e3</a:t>
            </a:r>
            <a:r>
              <a:rPr lang="en-US" dirty="0"/>
              <a:t>.1o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E90EBF-DFF7-63C5-F900-2578AB07A8B1}"/>
              </a:ext>
            </a:extLst>
          </p:cNvPr>
          <p:cNvSpPr/>
          <p:nvPr/>
        </p:nvSpPr>
        <p:spPr>
          <a:xfrm>
            <a:off x="5543825" y="3991416"/>
            <a:ext cx="3786614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9)        t|</a:t>
            </a:r>
            <a:r>
              <a:rPr lang="en-US" dirty="0">
                <a:solidFill>
                  <a:srgbClr val="0432FF"/>
                </a:solidFill>
              </a:rPr>
              <a:t>2e1</a:t>
            </a:r>
            <a:r>
              <a:rPr lang="en-US" dirty="0"/>
              <a:t>.</a:t>
            </a:r>
            <a:r>
              <a:rPr lang="en-US" dirty="0">
                <a:solidFill>
                  <a:srgbClr val="FF0000"/>
                </a:solidFill>
              </a:rPr>
              <a:t>1o3</a:t>
            </a:r>
            <a:r>
              <a:rPr lang="en-US" dirty="0"/>
              <a:t>|2e1.</a:t>
            </a:r>
            <a:r>
              <a:rPr lang="en-US" dirty="0">
                <a:solidFill>
                  <a:srgbClr val="FF0000"/>
                </a:solidFill>
              </a:rPr>
              <a:t>2o3</a:t>
            </a:r>
            <a:r>
              <a:rPr lang="en-US" dirty="0"/>
              <a:t>|2e2.1o1 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B65403A-1B57-6043-3DC8-5C34988F1C38}"/>
              </a:ext>
            </a:extLst>
          </p:cNvPr>
          <p:cNvCxnSpPr/>
          <p:nvPr/>
        </p:nvCxnSpPr>
        <p:spPr>
          <a:xfrm flipV="1">
            <a:off x="383396" y="2854342"/>
            <a:ext cx="509805" cy="57465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EECD6BE-AB36-2AC8-4610-B704F510EF83}"/>
              </a:ext>
            </a:extLst>
          </p:cNvPr>
          <p:cNvCxnSpPr/>
          <p:nvPr/>
        </p:nvCxnSpPr>
        <p:spPr>
          <a:xfrm flipV="1">
            <a:off x="638298" y="2854342"/>
            <a:ext cx="509805" cy="57465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FC24272-72D7-8DE2-5740-1F307968B73E}"/>
              </a:ext>
            </a:extLst>
          </p:cNvPr>
          <p:cNvCxnSpPr/>
          <p:nvPr/>
        </p:nvCxnSpPr>
        <p:spPr>
          <a:xfrm flipV="1">
            <a:off x="471994" y="4360748"/>
            <a:ext cx="509805" cy="574658"/>
          </a:xfrm>
          <a:prstGeom prst="straightConnector1">
            <a:avLst/>
          </a:prstGeom>
          <a:ln>
            <a:solidFill>
              <a:srgbClr val="1A3DFF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5B7D8F3-0B2A-E40F-3E76-96E06A57B2BB}"/>
              </a:ext>
            </a:extLst>
          </p:cNvPr>
          <p:cNvCxnSpPr/>
          <p:nvPr/>
        </p:nvCxnSpPr>
        <p:spPr>
          <a:xfrm flipV="1">
            <a:off x="694282" y="4360748"/>
            <a:ext cx="509805" cy="574658"/>
          </a:xfrm>
          <a:prstGeom prst="straightConnector1">
            <a:avLst/>
          </a:prstGeom>
          <a:ln>
            <a:solidFill>
              <a:srgbClr val="1A3DFF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82F649D-E984-AC92-3678-28EC3250A577}"/>
              </a:ext>
            </a:extLst>
          </p:cNvPr>
          <p:cNvCxnSpPr/>
          <p:nvPr/>
        </p:nvCxnSpPr>
        <p:spPr>
          <a:xfrm flipV="1">
            <a:off x="889161" y="4373571"/>
            <a:ext cx="509805" cy="574658"/>
          </a:xfrm>
          <a:prstGeom prst="straightConnector1">
            <a:avLst/>
          </a:prstGeom>
          <a:ln>
            <a:solidFill>
              <a:srgbClr val="1A3DFF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A7F0EBE-108D-CCF2-7FA3-8F6E62BF1017}"/>
              </a:ext>
            </a:extLst>
          </p:cNvPr>
          <p:cNvCxnSpPr/>
          <p:nvPr/>
        </p:nvCxnSpPr>
        <p:spPr>
          <a:xfrm flipV="1">
            <a:off x="2896765" y="4373571"/>
            <a:ext cx="509805" cy="574658"/>
          </a:xfrm>
          <a:prstGeom prst="straightConnector1">
            <a:avLst/>
          </a:prstGeom>
          <a:ln>
            <a:solidFill>
              <a:schemeClr val="accent3">
                <a:lumMod val="50000"/>
                <a:lumOff val="50000"/>
              </a:schemeClr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A830572-1653-0BF9-A416-1D6FF1BBDD14}"/>
              </a:ext>
            </a:extLst>
          </p:cNvPr>
          <p:cNvCxnSpPr/>
          <p:nvPr/>
        </p:nvCxnSpPr>
        <p:spPr>
          <a:xfrm flipV="1">
            <a:off x="3114949" y="4386394"/>
            <a:ext cx="509805" cy="574658"/>
          </a:xfrm>
          <a:prstGeom prst="straightConnector1">
            <a:avLst/>
          </a:prstGeom>
          <a:ln>
            <a:solidFill>
              <a:schemeClr val="accent3">
                <a:lumMod val="50000"/>
                <a:lumOff val="50000"/>
              </a:schemeClr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1594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83D6F7-4543-E824-7EAE-60251C3FF3F6}"/>
              </a:ext>
            </a:extLst>
          </p:cNvPr>
          <p:cNvSpPr txBox="1"/>
          <p:nvPr/>
        </p:nvSpPr>
        <p:spPr>
          <a:xfrm>
            <a:off x="556592" y="1962186"/>
            <a:ext cx="1417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FoxM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A0A7E5E-4252-B854-F089-83F68E9304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258" y="1179442"/>
            <a:ext cx="5577089" cy="5082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9524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8C0DE4-C995-C6B1-5A93-39D65B7B7C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0111" y="1017054"/>
            <a:ext cx="6002516" cy="54698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D83D6F7-4543-E824-7EAE-60251C3FF3F6}"/>
              </a:ext>
            </a:extLst>
          </p:cNvPr>
          <p:cNvSpPr txBox="1"/>
          <p:nvPr/>
        </p:nvSpPr>
        <p:spPr>
          <a:xfrm>
            <a:off x="556592" y="1962186"/>
            <a:ext cx="1417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SENP6</a:t>
            </a:r>
          </a:p>
        </p:txBody>
      </p:sp>
    </p:spTree>
    <p:extLst>
      <p:ext uri="{BB962C8B-B14F-4D97-AF65-F5344CB8AC3E}">
        <p14:creationId xmlns:p14="http://schemas.microsoft.com/office/powerpoint/2010/main" val="31986071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8C0DE4-C995-C6B1-5A93-39D65B7B7C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0111" y="1017054"/>
            <a:ext cx="6002516" cy="54698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D83D6F7-4543-E824-7EAE-60251C3FF3F6}"/>
              </a:ext>
            </a:extLst>
          </p:cNvPr>
          <p:cNvSpPr txBox="1"/>
          <p:nvPr/>
        </p:nvSpPr>
        <p:spPr>
          <a:xfrm>
            <a:off x="556592" y="1962186"/>
            <a:ext cx="1417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SENP6</a:t>
            </a:r>
          </a:p>
        </p:txBody>
      </p:sp>
    </p:spTree>
    <p:extLst>
      <p:ext uri="{BB962C8B-B14F-4D97-AF65-F5344CB8AC3E}">
        <p14:creationId xmlns:p14="http://schemas.microsoft.com/office/powerpoint/2010/main" val="21181230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8C0DE4-C995-C6B1-5A93-39D65B7B7C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0111" y="1017054"/>
            <a:ext cx="6002516" cy="54698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D83D6F7-4543-E824-7EAE-60251C3FF3F6}"/>
              </a:ext>
            </a:extLst>
          </p:cNvPr>
          <p:cNvSpPr txBox="1"/>
          <p:nvPr/>
        </p:nvSpPr>
        <p:spPr>
          <a:xfrm>
            <a:off x="556592" y="1962186"/>
            <a:ext cx="1417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SENP6</a:t>
            </a:r>
          </a:p>
        </p:txBody>
      </p:sp>
    </p:spTree>
    <p:extLst>
      <p:ext uri="{BB962C8B-B14F-4D97-AF65-F5344CB8AC3E}">
        <p14:creationId xmlns:p14="http://schemas.microsoft.com/office/powerpoint/2010/main" val="30876424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</p:spTree>
    <p:extLst>
      <p:ext uri="{BB962C8B-B14F-4D97-AF65-F5344CB8AC3E}">
        <p14:creationId xmlns:p14="http://schemas.microsoft.com/office/powerpoint/2010/main" val="5525296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</p:spTree>
    <p:extLst>
      <p:ext uri="{BB962C8B-B14F-4D97-AF65-F5344CB8AC3E}">
        <p14:creationId xmlns:p14="http://schemas.microsoft.com/office/powerpoint/2010/main" val="41138050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</p:spTree>
    <p:extLst>
      <p:ext uri="{BB962C8B-B14F-4D97-AF65-F5344CB8AC3E}">
        <p14:creationId xmlns:p14="http://schemas.microsoft.com/office/powerpoint/2010/main" val="3696622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1-RASL-seq primers design (1)?  </a:t>
            </a:r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46A14CF7-89D4-DF02-9886-6D5F70E081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96356"/>
            <a:ext cx="6376737" cy="4797538"/>
          </a:xfrm>
          <a:prstGeom prst="rect">
            <a:avLst/>
          </a:prstGeom>
        </p:spPr>
      </p:pic>
      <p:pic>
        <p:nvPicPr>
          <p:cNvPr id="10" name="Picture 9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2E83A355-3D61-FCE3-C1E2-FD38FEEB8E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253" y="1776040"/>
            <a:ext cx="5946115" cy="4510011"/>
          </a:xfrm>
          <a:prstGeom prst="rect">
            <a:avLst/>
          </a:prstGeom>
        </p:spPr>
      </p:pic>
      <p:pic>
        <p:nvPicPr>
          <p:cNvPr id="12" name="Picture 11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B14926F6-4668-DCA7-B676-EE057FC42F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895" y="663568"/>
            <a:ext cx="3626371" cy="1112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424531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 2-What value can RASL-seq provide (1)?  </a:t>
            </a:r>
          </a:p>
        </p:txBody>
      </p:sp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12A0F0AF-B790-A099-A4B5-C048AF73C5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3884"/>
            <a:ext cx="6234069" cy="4377663"/>
          </a:xfrm>
          <a:prstGeom prst="rect">
            <a:avLst/>
          </a:prstGeom>
        </p:spPr>
      </p:pic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106F8163-AE89-9FBF-CB7F-A4708E8BE0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8923" y="827332"/>
            <a:ext cx="6258813" cy="4141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186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3-RASL-seq primers design (2)?  </a:t>
            </a:r>
          </a:p>
        </p:txBody>
      </p:sp>
      <p:pic>
        <p:nvPicPr>
          <p:cNvPr id="4" name="Picture 3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9956B97B-D3D2-1C9E-BFF6-CDD189AC50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73" y="955516"/>
            <a:ext cx="3600593" cy="1619242"/>
          </a:xfrm>
          <a:prstGeom prst="rect">
            <a:avLst/>
          </a:prstGeom>
        </p:spPr>
      </p:pic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8183CD77-9C66-AC17-41A2-0F9E219D790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 t="32195" b="2027"/>
          <a:stretch/>
        </p:blipFill>
        <p:spPr>
          <a:xfrm>
            <a:off x="170607" y="3030882"/>
            <a:ext cx="5181600" cy="526295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931C8744-E737-947D-AF96-A506352B99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29" y="4060409"/>
            <a:ext cx="5274366" cy="1739900"/>
          </a:xfrm>
          <a:prstGeom prst="rect">
            <a:avLst/>
          </a:prstGeom>
        </p:spPr>
      </p:pic>
      <p:pic>
        <p:nvPicPr>
          <p:cNvPr id="13" name="Picture 12" descr="A computer screen capture&#10;&#10;Description automatically generated with medium confidence">
            <a:extLst>
              <a:ext uri="{FF2B5EF4-FFF2-40B4-BE49-F238E27FC236}">
                <a16:creationId xmlns:a16="http://schemas.microsoft.com/office/drawing/2014/main" id="{CD20F651-9AB8-CF07-F399-699FD33575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7649" y="873335"/>
            <a:ext cx="6817318" cy="3897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1319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 4-What value can RASL-seq provide (2)?  </a:t>
            </a:r>
          </a:p>
        </p:txBody>
      </p:sp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9BFA2D0-8FC8-8569-CB3B-20042B7F18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5031" y="1174750"/>
            <a:ext cx="5422900" cy="4318000"/>
          </a:xfrm>
          <a:prstGeom prst="rect">
            <a:avLst/>
          </a:prstGeom>
        </p:spPr>
      </p:pic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D724CA5-7119-C6C6-2400-56EF60B298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200" y="1365250"/>
            <a:ext cx="5130800" cy="412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7858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CA705B5D-566A-06B5-D144-9DB1F19D3D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61" y="1036839"/>
            <a:ext cx="5353878" cy="19030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B9B5A9-A827-28BE-51EF-E802DF522FAF}"/>
              </a:ext>
            </a:extLst>
          </p:cNvPr>
          <p:cNvSpPr txBox="1"/>
          <p:nvPr/>
        </p:nvSpPr>
        <p:spPr>
          <a:xfrm>
            <a:off x="3428424" y="1238791"/>
            <a:ext cx="6270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0000"/>
                </a:solidFill>
              </a:rPr>
              <a:t>(2021)</a:t>
            </a:r>
          </a:p>
        </p:txBody>
      </p:sp>
      <p:pic>
        <p:nvPicPr>
          <p:cNvPr id="7" name="Picture 6" descr="Chart, pie chart&#10;&#10;Description automatically generated">
            <a:extLst>
              <a:ext uri="{FF2B5EF4-FFF2-40B4-BE49-F238E27FC236}">
                <a16:creationId xmlns:a16="http://schemas.microsoft.com/office/drawing/2014/main" id="{B0DC6A35-1163-5B83-807B-7FD07E4C31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61" y="3354457"/>
            <a:ext cx="5805324" cy="2667000"/>
          </a:xfrm>
          <a:prstGeom prst="rect">
            <a:avLst/>
          </a:prstGeom>
        </p:spPr>
      </p:pic>
      <p:pic>
        <p:nvPicPr>
          <p:cNvPr id="9" name="Picture 8" descr="A picture containing diagram&#10;&#10;Description automatically generated">
            <a:extLst>
              <a:ext uri="{FF2B5EF4-FFF2-40B4-BE49-F238E27FC236}">
                <a16:creationId xmlns:a16="http://schemas.microsoft.com/office/drawing/2014/main" id="{8033DAEE-6C38-1170-9081-2CC7D70045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8124" y="783884"/>
            <a:ext cx="3748936" cy="567631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0B4E65C-CC31-5347-FB66-73FC7701CF09}"/>
              </a:ext>
            </a:extLst>
          </p:cNvPr>
          <p:cNvSpPr txBox="1">
            <a:spLocks/>
          </p:cNvSpPr>
          <p:nvPr/>
        </p:nvSpPr>
        <p:spPr>
          <a:xfrm>
            <a:off x="4233" y="-3801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 5-What value can RASL-seq provide (3)?  </a:t>
            </a:r>
          </a:p>
        </p:txBody>
      </p:sp>
    </p:spTree>
    <p:extLst>
      <p:ext uri="{BB962C8B-B14F-4D97-AF65-F5344CB8AC3E}">
        <p14:creationId xmlns:p14="http://schemas.microsoft.com/office/powerpoint/2010/main" val="4848270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table&#10;&#10;Description automatically generated">
            <a:extLst>
              <a:ext uri="{FF2B5EF4-FFF2-40B4-BE49-F238E27FC236}">
                <a16:creationId xmlns:a16="http://schemas.microsoft.com/office/drawing/2014/main" id="{AAE368F0-77CC-929D-0B7F-A797474BD0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8" y="783884"/>
            <a:ext cx="12190482" cy="552021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BFE62CA-2CCE-6A02-F1F5-E77E376E9AC2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6-RASL-seq primers design (3)  </a:t>
            </a:r>
          </a:p>
        </p:txBody>
      </p:sp>
    </p:spTree>
    <p:extLst>
      <p:ext uri="{BB962C8B-B14F-4D97-AF65-F5344CB8AC3E}">
        <p14:creationId xmlns:p14="http://schemas.microsoft.com/office/powerpoint/2010/main" val="14009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/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URAGU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MN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611404" y="5816450"/>
            <a:ext cx="4457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(ref: </a:t>
            </a:r>
            <a:r>
              <a:rPr lang="en-US" sz="1200" dirty="0" err="1"/>
              <a:t>Ratni</a:t>
            </a:r>
            <a:r>
              <a:rPr lang="en-US" sz="1200" dirty="0"/>
              <a:t> Roche review, Progress Medicinal Chem V58, 2019)</a:t>
            </a:r>
          </a:p>
        </p:txBody>
      </p:sp>
    </p:spTree>
    <p:extLst>
      <p:ext uri="{BB962C8B-B14F-4D97-AF65-F5344CB8AC3E}">
        <p14:creationId xmlns:p14="http://schemas.microsoft.com/office/powerpoint/2010/main" val="1074429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5AC36F-2A6A-5214-CDCC-D2E67D59F94C}"/>
              </a:ext>
            </a:extLst>
          </p:cNvPr>
          <p:cNvSpPr txBox="1"/>
          <p:nvPr/>
        </p:nvSpPr>
        <p:spPr>
          <a:xfrm>
            <a:off x="2391103" y="241159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573B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60A5F14A-BE3F-E10F-0DC7-C67ABB2D13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361" y="1782266"/>
            <a:ext cx="3230562" cy="2875188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8511762-AD41-76B1-C362-61A6AD9659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5523" y="1782266"/>
            <a:ext cx="3051607" cy="292694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3BCFD14-9C64-05C5-A261-995FF6D739B3}"/>
              </a:ext>
            </a:extLst>
          </p:cNvPr>
          <p:cNvSpPr txBox="1"/>
          <p:nvPr/>
        </p:nvSpPr>
        <p:spPr>
          <a:xfrm>
            <a:off x="1498750" y="1255271"/>
            <a:ext cx="941283" cy="3693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SREK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8752D6C-A789-03DD-5A75-B02569B62245}"/>
              </a:ext>
            </a:extLst>
          </p:cNvPr>
          <p:cNvSpPr txBox="1"/>
          <p:nvPr/>
        </p:nvSpPr>
        <p:spPr>
          <a:xfrm>
            <a:off x="5497117" y="1255271"/>
            <a:ext cx="1069524" cy="3693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UBAP2L</a:t>
            </a:r>
          </a:p>
        </p:txBody>
      </p:sp>
      <p:pic>
        <p:nvPicPr>
          <p:cNvPr id="17" name="Picture 16" descr="Chart, diagram&#10;&#10;Description automatically generated">
            <a:extLst>
              <a:ext uri="{FF2B5EF4-FFF2-40B4-BE49-F238E27FC236}">
                <a16:creationId xmlns:a16="http://schemas.microsoft.com/office/drawing/2014/main" id="{7E9BDDEF-D876-B084-7617-351CC86A93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7513" y="1934036"/>
            <a:ext cx="3686768" cy="29899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8FE0129-5DB0-CBA4-C307-324D3B8EF5EC}"/>
              </a:ext>
            </a:extLst>
          </p:cNvPr>
          <p:cNvSpPr txBox="1"/>
          <p:nvPr/>
        </p:nvSpPr>
        <p:spPr>
          <a:xfrm>
            <a:off x="9623726" y="1255271"/>
            <a:ext cx="928459" cy="3693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DX42</a:t>
            </a:r>
          </a:p>
        </p:txBody>
      </p:sp>
    </p:spTree>
    <p:extLst>
      <p:ext uri="{BB962C8B-B14F-4D97-AF65-F5344CB8AC3E}">
        <p14:creationId xmlns:p14="http://schemas.microsoft.com/office/powerpoint/2010/main" val="1843772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B1TT3XQYmAUsvmbDn0_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B1TT3XQYmAUsvmbDn0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Biogen Design 3 WIDE">
  <a:themeElements>
    <a:clrScheme name="Biogen Theme">
      <a:dk1>
        <a:srgbClr val="2573BA"/>
      </a:dk1>
      <a:lt1>
        <a:srgbClr val="FFFFFF"/>
      </a:lt1>
      <a:dk2>
        <a:srgbClr val="005B7F"/>
      </a:dk2>
      <a:lt2>
        <a:srgbClr val="7C878E"/>
      </a:lt2>
      <a:accent1>
        <a:srgbClr val="7CC3E2"/>
      </a:accent1>
      <a:accent2>
        <a:srgbClr val="5CA136"/>
      </a:accent2>
      <a:accent3>
        <a:srgbClr val="2573BA"/>
      </a:accent3>
      <a:accent4>
        <a:srgbClr val="99CA3C"/>
      </a:accent4>
      <a:accent5>
        <a:srgbClr val="C7DD72"/>
      </a:accent5>
      <a:accent6>
        <a:srgbClr val="DDE5AE"/>
      </a:accent6>
      <a:hlink>
        <a:srgbClr val="1E5DAC"/>
      </a:hlink>
      <a:folHlink>
        <a:srgbClr val="466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5_Biogen Design 3 WIDE">
  <a:themeElements>
    <a:clrScheme name="Biogen Theme">
      <a:dk1>
        <a:srgbClr val="2573BA"/>
      </a:dk1>
      <a:lt1>
        <a:srgbClr val="FFFFFF"/>
      </a:lt1>
      <a:dk2>
        <a:srgbClr val="005B7F"/>
      </a:dk2>
      <a:lt2>
        <a:srgbClr val="7C878E"/>
      </a:lt2>
      <a:accent1>
        <a:srgbClr val="7CC3E2"/>
      </a:accent1>
      <a:accent2>
        <a:srgbClr val="5CA136"/>
      </a:accent2>
      <a:accent3>
        <a:srgbClr val="2573BA"/>
      </a:accent3>
      <a:accent4>
        <a:srgbClr val="99CA3C"/>
      </a:accent4>
      <a:accent5>
        <a:srgbClr val="C7DD72"/>
      </a:accent5>
      <a:accent6>
        <a:srgbClr val="DDE5AE"/>
      </a:accent6>
      <a:hlink>
        <a:srgbClr val="1E5DAC"/>
      </a:hlink>
      <a:folHlink>
        <a:srgbClr val="466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93</TotalTime>
  <Words>483</Words>
  <Application>Microsoft Macintosh PowerPoint</Application>
  <PresentationFormat>Widescreen</PresentationFormat>
  <Paragraphs>322</Paragraphs>
  <Slides>20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Arial Narrow</vt:lpstr>
      <vt:lpstr>Calibri</vt:lpstr>
      <vt:lpstr>Courier New</vt:lpstr>
      <vt:lpstr>Wingdings</vt:lpstr>
      <vt:lpstr>4_Biogen Design 3 WIDE</vt:lpstr>
      <vt:lpstr>5_Biogen Design 3 W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central idea of MAJIQ: local splicing variations</vt:lpstr>
      <vt:lpstr>The central idea of MAJIQ: local splicing varia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hithiya Manohar Charle</dc:creator>
  <cp:lastModifiedBy>Zhen Gao</cp:lastModifiedBy>
  <cp:revision>10</cp:revision>
  <dcterms:created xsi:type="dcterms:W3CDTF">2022-09-27T16:08:54Z</dcterms:created>
  <dcterms:modified xsi:type="dcterms:W3CDTF">2022-10-04T19:19:32Z</dcterms:modified>
</cp:coreProperties>
</file>